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18EF28-DC99-427D-AB10-8AB7634341AC}" v="15" dt="2024-09-04T09:12:13.4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chineni, Ananya SBOBNG-PTIY/DFH" userId="5bcffe3d-a155-4e5b-b54e-e50fe7fbe0e4" providerId="ADAL" clId="{FC18EF28-DC99-427D-AB10-8AB7634341AC}"/>
    <pc:docChg chg="undo custSel addSld delSld modSld">
      <pc:chgData name="Mechineni, Ananya SBOBNG-PTIY/DFH" userId="5bcffe3d-a155-4e5b-b54e-e50fe7fbe0e4" providerId="ADAL" clId="{FC18EF28-DC99-427D-AB10-8AB7634341AC}" dt="2024-09-04T10:48:27.278" v="4175" actId="20577"/>
      <pc:docMkLst>
        <pc:docMk/>
      </pc:docMkLst>
      <pc:sldChg chg="modSp mod">
        <pc:chgData name="Mechineni, Ananya SBOBNG-PTIY/DFH" userId="5bcffe3d-a155-4e5b-b54e-e50fe7fbe0e4" providerId="ADAL" clId="{FC18EF28-DC99-427D-AB10-8AB7634341AC}" dt="2024-09-04T10:48:27.278" v="4175" actId="20577"/>
        <pc:sldMkLst>
          <pc:docMk/>
          <pc:sldMk cId="3267775274" sldId="256"/>
        </pc:sldMkLst>
        <pc:spChg chg="mod">
          <ac:chgData name="Mechineni, Ananya SBOBNG-PTIY/DFH" userId="5bcffe3d-a155-4e5b-b54e-e50fe7fbe0e4" providerId="ADAL" clId="{FC18EF28-DC99-427D-AB10-8AB7634341AC}" dt="2024-09-04T10:48:27.278" v="4175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Mechineni, Ananya SBOBNG-PTIY/DFH" userId="5bcffe3d-a155-4e5b-b54e-e50fe7fbe0e4" providerId="ADAL" clId="{FC18EF28-DC99-427D-AB10-8AB7634341AC}" dt="2024-09-02T17:08:45.344" v="28" actId="20577"/>
          <ac:spMkLst>
            <pc:docMk/>
            <pc:sldMk cId="3267775274" sldId="256"/>
            <ac:spMk id="12" creationId="{8A24547F-8A92-CDC5-A578-3733390534F2}"/>
          </ac:spMkLst>
        </pc:spChg>
      </pc:sldChg>
      <pc:sldChg chg="addSp modSp mod">
        <pc:chgData name="Mechineni, Ananya SBOBNG-PTIY/DFH" userId="5bcffe3d-a155-4e5b-b54e-e50fe7fbe0e4" providerId="ADAL" clId="{FC18EF28-DC99-427D-AB10-8AB7634341AC}" dt="2024-09-02T17:15:49.679" v="133" actId="14100"/>
        <pc:sldMkLst>
          <pc:docMk/>
          <pc:sldMk cId="867832184" sldId="2147375589"/>
        </pc:sldMkLst>
        <pc:spChg chg="mod">
          <ac:chgData name="Mechineni, Ananya SBOBNG-PTIY/DFH" userId="5bcffe3d-a155-4e5b-b54e-e50fe7fbe0e4" providerId="ADAL" clId="{FC18EF28-DC99-427D-AB10-8AB7634341AC}" dt="2024-09-02T17:12:02.892" v="124" actId="113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Mechineni, Ananya SBOBNG-PTIY/DFH" userId="5bcffe3d-a155-4e5b-b54e-e50fe7fbe0e4" providerId="ADAL" clId="{FC18EF28-DC99-427D-AB10-8AB7634341AC}" dt="2024-09-02T17:12:10.675" v="125" actId="20577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Mechineni, Ananya SBOBNG-PTIY/DFH" userId="5bcffe3d-a155-4e5b-b54e-e50fe7fbe0e4" providerId="ADAL" clId="{FC18EF28-DC99-427D-AB10-8AB7634341AC}" dt="2024-09-02T17:15:49.679" v="133" actId="14100"/>
          <ac:picMkLst>
            <pc:docMk/>
            <pc:sldMk cId="867832184" sldId="2147375589"/>
            <ac:picMk id="1026" creationId="{145210DE-5458-0800-7067-47E7F0D25888}"/>
          </ac:picMkLst>
        </pc:picChg>
      </pc:sldChg>
      <pc:sldChg chg="addSp delSp modSp mod">
        <pc:chgData name="Mechineni, Ananya SBOBNG-PTIY/DFH" userId="5bcffe3d-a155-4e5b-b54e-e50fe7fbe0e4" providerId="ADAL" clId="{FC18EF28-DC99-427D-AB10-8AB7634341AC}" dt="2024-09-04T08:47:07.972" v="511" actId="14100"/>
        <pc:sldMkLst>
          <pc:docMk/>
          <pc:sldMk cId="245881457" sldId="2147375597"/>
        </pc:sldMkLst>
        <pc:spChg chg="add">
          <ac:chgData name="Mechineni, Ananya SBOBNG-PTIY/DFH" userId="5bcffe3d-a155-4e5b-b54e-e50fe7fbe0e4" providerId="ADAL" clId="{FC18EF28-DC99-427D-AB10-8AB7634341AC}" dt="2024-09-04T08:46:42.356" v="504"/>
          <ac:spMkLst>
            <pc:docMk/>
            <pc:sldMk cId="245881457" sldId="2147375597"/>
            <ac:spMk id="2" creationId="{3E73F2A1-DA80-D829-CD79-D9B4E4D0FB2E}"/>
          </ac:spMkLst>
        </pc:spChg>
        <pc:spChg chg="mod">
          <ac:chgData name="Mechineni, Ananya SBOBNG-PTIY/DFH" userId="5bcffe3d-a155-4e5b-b54e-e50fe7fbe0e4" providerId="ADAL" clId="{FC18EF28-DC99-427D-AB10-8AB7634341AC}" dt="2024-09-04T08:44:50.135" v="498" actId="20577"/>
          <ac:spMkLst>
            <pc:docMk/>
            <pc:sldMk cId="245881457" sldId="2147375597"/>
            <ac:spMk id="11" creationId="{DE9F1BE0-7910-FA1B-DCE8-56EFD1E4FC09}"/>
          </ac:spMkLst>
        </pc:spChg>
        <pc:spChg chg="add del mod">
          <ac:chgData name="Mechineni, Ananya SBOBNG-PTIY/DFH" userId="5bcffe3d-a155-4e5b-b54e-e50fe7fbe0e4" providerId="ADAL" clId="{FC18EF28-DC99-427D-AB10-8AB7634341AC}" dt="2024-09-04T08:45:32.756" v="503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Mechineni, Ananya SBOBNG-PTIY/DFH" userId="5bcffe3d-a155-4e5b-b54e-e50fe7fbe0e4" providerId="ADAL" clId="{FC18EF28-DC99-427D-AB10-8AB7634341AC}" dt="2024-09-04T08:47:07.972" v="511" actId="14100"/>
          <ac:picMkLst>
            <pc:docMk/>
            <pc:sldMk cId="245881457" sldId="2147375597"/>
            <ac:picMk id="5" creationId="{86A8C5C9-939D-6B42-1B01-98F00A547DE1}"/>
          </ac:picMkLst>
        </pc:picChg>
      </pc:sldChg>
      <pc:sldChg chg="modSp mod">
        <pc:chgData name="Mechineni, Ananya SBOBNG-PTIY/DFH" userId="5bcffe3d-a155-4e5b-b54e-e50fe7fbe0e4" providerId="ADAL" clId="{FC18EF28-DC99-427D-AB10-8AB7634341AC}" dt="2024-09-04T08:57:44.078" v="880" actId="20577"/>
        <pc:sldMkLst>
          <pc:docMk/>
          <pc:sldMk cId="1181112711" sldId="2147375600"/>
        </pc:sldMkLst>
        <pc:spChg chg="mod">
          <ac:chgData name="Mechineni, Ananya SBOBNG-PTIY/DFH" userId="5bcffe3d-a155-4e5b-b54e-e50fe7fbe0e4" providerId="ADAL" clId="{FC18EF28-DC99-427D-AB10-8AB7634341AC}" dt="2024-09-04T08:57:11.525" v="87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Mechineni, Ananya SBOBNG-PTIY/DFH" userId="5bcffe3d-a155-4e5b-b54e-e50fe7fbe0e4" providerId="ADAL" clId="{FC18EF28-DC99-427D-AB10-8AB7634341AC}" dt="2024-09-04T08:57:44.078" v="880" actId="20577"/>
          <ac:spMkLst>
            <pc:docMk/>
            <pc:sldMk cId="1181112711" sldId="2147375600"/>
            <ac:spMk id="12" creationId="{E53E5C3F-4D2B-B85F-E592-E58E032C664C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09:03:30.886" v="1217" actId="20577"/>
        <pc:sldMkLst>
          <pc:docMk/>
          <pc:sldMk cId="3233747587" sldId="2147375601"/>
        </pc:sldMkLst>
        <pc:spChg chg="mod">
          <ac:chgData name="Mechineni, Ananya SBOBNG-PTIY/DFH" userId="5bcffe3d-a155-4e5b-b54e-e50fe7fbe0e4" providerId="ADAL" clId="{FC18EF28-DC99-427D-AB10-8AB7634341AC}" dt="2024-09-04T09:03:30.886" v="1217" actId="20577"/>
          <ac:spMkLst>
            <pc:docMk/>
            <pc:sldMk cId="3233747587" sldId="2147375601"/>
            <ac:spMk id="11" creationId="{DE9F1BE0-7910-FA1B-DCE8-56EFD1E4FC09}"/>
          </ac:spMkLst>
        </pc:spChg>
        <pc:spChg chg="mod">
          <ac:chgData name="Mechineni, Ananya SBOBNG-PTIY/DFH" userId="5bcffe3d-a155-4e5b-b54e-e50fe7fbe0e4" providerId="ADAL" clId="{FC18EF28-DC99-427D-AB10-8AB7634341AC}" dt="2024-09-04T08:58:28.696" v="889" actId="20577"/>
          <ac:spMkLst>
            <pc:docMk/>
            <pc:sldMk cId="3233747587" sldId="2147375601"/>
            <ac:spMk id="12" creationId="{E53E5C3F-4D2B-B85F-E592-E58E032C664C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09:19:57.444" v="2023" actId="20577"/>
        <pc:sldMkLst>
          <pc:docMk/>
          <pc:sldMk cId="3971512377" sldId="2147375603"/>
        </pc:sldMkLst>
        <pc:spChg chg="mod">
          <ac:chgData name="Mechineni, Ananya SBOBNG-PTIY/DFH" userId="5bcffe3d-a155-4e5b-b54e-e50fe7fbe0e4" providerId="ADAL" clId="{FC18EF28-DC99-427D-AB10-8AB7634341AC}" dt="2024-09-04T09:19:57.444" v="2023" actId="20577"/>
          <ac:spMkLst>
            <pc:docMk/>
            <pc:sldMk cId="3971512377" sldId="2147375603"/>
            <ac:spMk id="11" creationId="{DE9F1BE0-7910-FA1B-DCE8-56EFD1E4FC09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09:19:49.948" v="2022" actId="20577"/>
        <pc:sldMkLst>
          <pc:docMk/>
          <pc:sldMk cId="3179805674" sldId="2147375604"/>
        </pc:sldMkLst>
        <pc:spChg chg="mod">
          <ac:chgData name="Mechineni, Ananya SBOBNG-PTIY/DFH" userId="5bcffe3d-a155-4e5b-b54e-e50fe7fbe0e4" providerId="ADAL" clId="{FC18EF28-DC99-427D-AB10-8AB7634341AC}" dt="2024-09-04T09:19:49.948" v="2022" actId="20577"/>
          <ac:spMkLst>
            <pc:docMk/>
            <pc:sldMk cId="3179805674" sldId="2147375604"/>
            <ac:spMk id="11" creationId="{DE9F1BE0-7910-FA1B-DCE8-56EFD1E4FC09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09:21:12.766" v="2128" actId="113"/>
        <pc:sldMkLst>
          <pc:docMk/>
          <pc:sldMk cId="86366928" sldId="2147375605"/>
        </pc:sldMkLst>
        <pc:spChg chg="mod">
          <ac:chgData name="Mechineni, Ananya SBOBNG-PTIY/DFH" userId="5bcffe3d-a155-4e5b-b54e-e50fe7fbe0e4" providerId="ADAL" clId="{FC18EF28-DC99-427D-AB10-8AB7634341AC}" dt="2024-09-04T09:21:12.766" v="2128" actId="113"/>
          <ac:spMkLst>
            <pc:docMk/>
            <pc:sldMk cId="86366928" sldId="2147375605"/>
            <ac:spMk id="11" creationId="{DE9F1BE0-7910-FA1B-DCE8-56EFD1E4FC09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09:53:18.741" v="2747" actId="20577"/>
        <pc:sldMkLst>
          <pc:docMk/>
          <pc:sldMk cId="2340944189" sldId="2147375607"/>
        </pc:sldMkLst>
        <pc:spChg chg="mod">
          <ac:chgData name="Mechineni, Ananya SBOBNG-PTIY/DFH" userId="5bcffe3d-a155-4e5b-b54e-e50fe7fbe0e4" providerId="ADAL" clId="{FC18EF28-DC99-427D-AB10-8AB7634341AC}" dt="2024-09-04T09:53:18.741" v="2747" actId="20577"/>
          <ac:spMkLst>
            <pc:docMk/>
            <pc:sldMk cId="2340944189" sldId="2147375607"/>
            <ac:spMk id="11" creationId="{DE9F1BE0-7910-FA1B-DCE8-56EFD1E4FC09}"/>
          </ac:spMkLst>
        </pc:spChg>
      </pc:sldChg>
      <pc:sldChg chg="addSp delSp modSp mod">
        <pc:chgData name="Mechineni, Ananya SBOBNG-PTIY/DFH" userId="5bcffe3d-a155-4e5b-b54e-e50fe7fbe0e4" providerId="ADAL" clId="{FC18EF28-DC99-427D-AB10-8AB7634341AC}" dt="2024-09-04T09:58:16.766" v="3110" actId="20577"/>
        <pc:sldMkLst>
          <pc:docMk/>
          <pc:sldMk cId="3159148252" sldId="2147375608"/>
        </pc:sldMkLst>
        <pc:spChg chg="add del mod">
          <ac:chgData name="Mechineni, Ananya SBOBNG-PTIY/DFH" userId="5bcffe3d-a155-4e5b-b54e-e50fe7fbe0e4" providerId="ADAL" clId="{FC18EF28-DC99-427D-AB10-8AB7634341AC}" dt="2024-09-04T09:58:16.766" v="3110" actId="20577"/>
          <ac:spMkLst>
            <pc:docMk/>
            <pc:sldMk cId="3159148252" sldId="2147375608"/>
            <ac:spMk id="11" creationId="{DE9F1BE0-7910-FA1B-DCE8-56EFD1E4FC09}"/>
          </ac:spMkLst>
        </pc:spChg>
      </pc:sldChg>
      <pc:sldChg chg="addSp delSp modSp mod">
        <pc:chgData name="Mechineni, Ananya SBOBNG-PTIY/DFH" userId="5bcffe3d-a155-4e5b-b54e-e50fe7fbe0e4" providerId="ADAL" clId="{FC18EF28-DC99-427D-AB10-8AB7634341AC}" dt="2024-09-04T10:03:07.119" v="3381" actId="20577"/>
        <pc:sldMkLst>
          <pc:docMk/>
          <pc:sldMk cId="3070204084" sldId="2147375609"/>
        </pc:sldMkLst>
        <pc:spChg chg="add del mod">
          <ac:chgData name="Mechineni, Ananya SBOBNG-PTIY/DFH" userId="5bcffe3d-a155-4e5b-b54e-e50fe7fbe0e4" providerId="ADAL" clId="{FC18EF28-DC99-427D-AB10-8AB7634341AC}" dt="2024-09-04T10:03:07.119" v="3381" actId="20577"/>
          <ac:spMkLst>
            <pc:docMk/>
            <pc:sldMk cId="3070204084" sldId="2147375609"/>
            <ac:spMk id="11" creationId="{DE9F1BE0-7910-FA1B-DCE8-56EFD1E4FC09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10:06:24.233" v="3651" actId="20577"/>
        <pc:sldMkLst>
          <pc:docMk/>
          <pc:sldMk cId="3754613224" sldId="2147375611"/>
        </pc:sldMkLst>
        <pc:spChg chg="mod">
          <ac:chgData name="Mechineni, Ananya SBOBNG-PTIY/DFH" userId="5bcffe3d-a155-4e5b-b54e-e50fe7fbe0e4" providerId="ADAL" clId="{FC18EF28-DC99-427D-AB10-8AB7634341AC}" dt="2024-09-04T10:05:35.586" v="3535" actId="20577"/>
          <ac:spMkLst>
            <pc:docMk/>
            <pc:sldMk cId="3754613224" sldId="2147375611"/>
            <ac:spMk id="18" creationId="{6C73795A-BE20-7075-E9C6-6F145CE60794}"/>
          </ac:spMkLst>
        </pc:spChg>
        <pc:spChg chg="mod">
          <ac:chgData name="Mechineni, Ananya SBOBNG-PTIY/DFH" userId="5bcffe3d-a155-4e5b-b54e-e50fe7fbe0e4" providerId="ADAL" clId="{FC18EF28-DC99-427D-AB10-8AB7634341AC}" dt="2024-09-04T10:06:01.046" v="3578" actId="20577"/>
          <ac:spMkLst>
            <pc:docMk/>
            <pc:sldMk cId="3754613224" sldId="2147375611"/>
            <ac:spMk id="19" creationId="{A3E2F4D1-4417-E244-3DB9-A6FF5866A342}"/>
          </ac:spMkLst>
        </pc:spChg>
        <pc:spChg chg="mod">
          <ac:chgData name="Mechineni, Ananya SBOBNG-PTIY/DFH" userId="5bcffe3d-a155-4e5b-b54e-e50fe7fbe0e4" providerId="ADAL" clId="{FC18EF28-DC99-427D-AB10-8AB7634341AC}" dt="2024-09-04T10:06:24.233" v="3651" actId="20577"/>
          <ac:spMkLst>
            <pc:docMk/>
            <pc:sldMk cId="3754613224" sldId="2147375611"/>
            <ac:spMk id="20" creationId="{3EBEB0AC-D407-44FD-A74F-90F67F3D13C3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10:15:41.498" v="3934" actId="122"/>
        <pc:sldMkLst>
          <pc:docMk/>
          <pc:sldMk cId="1148838763" sldId="2147375613"/>
        </pc:sldMkLst>
        <pc:spChg chg="mod">
          <ac:chgData name="Mechineni, Ananya SBOBNG-PTIY/DFH" userId="5bcffe3d-a155-4e5b-b54e-e50fe7fbe0e4" providerId="ADAL" clId="{FC18EF28-DC99-427D-AB10-8AB7634341AC}" dt="2024-09-04T10:15:41.498" v="3934" actId="122"/>
          <ac:spMkLst>
            <pc:docMk/>
            <pc:sldMk cId="1148838763" sldId="2147375613"/>
            <ac:spMk id="11" creationId="{8CC1343B-2E39-FEFF-8FF6-46822F18B432}"/>
          </ac:spMkLst>
        </pc:spChg>
      </pc:sldChg>
      <pc:sldChg chg="modSp mod">
        <pc:chgData name="Mechineni, Ananya SBOBNG-PTIY/DFH" userId="5bcffe3d-a155-4e5b-b54e-e50fe7fbe0e4" providerId="ADAL" clId="{FC18EF28-DC99-427D-AB10-8AB7634341AC}" dt="2024-09-04T10:47:48.991" v="4174" actId="113"/>
        <pc:sldMkLst>
          <pc:docMk/>
          <pc:sldMk cId="3865850111" sldId="2147375614"/>
        </pc:sldMkLst>
        <pc:spChg chg="mod">
          <ac:chgData name="Mechineni, Ananya SBOBNG-PTIY/DFH" userId="5bcffe3d-a155-4e5b-b54e-e50fe7fbe0e4" providerId="ADAL" clId="{FC18EF28-DC99-427D-AB10-8AB7634341AC}" dt="2024-09-04T10:47:48.991" v="4174" actId="113"/>
          <ac:spMkLst>
            <pc:docMk/>
            <pc:sldMk cId="3865850111" sldId="2147375614"/>
            <ac:spMk id="6" creationId="{AC2F88D2-81D4-FAD4-568E-A3F495B06411}"/>
          </ac:spMkLst>
        </pc:spChg>
      </pc:sldChg>
      <pc:sldChg chg="new del">
        <pc:chgData name="Mechineni, Ananya SBOBNG-PTIY/DFH" userId="5bcffe3d-a155-4e5b-b54e-e50fe7fbe0e4" providerId="ADAL" clId="{FC18EF28-DC99-427D-AB10-8AB7634341AC}" dt="2024-09-04T10:00:02.212" v="3176" actId="47"/>
        <pc:sldMkLst>
          <pc:docMk/>
          <pc:sldMk cId="4060083215" sldId="2147375615"/>
        </pc:sldMkLst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4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</a:t>
            </a:r>
            <a:r>
              <a:rPr lang="en-US" sz="4000"/>
              <a:t>Week 1</a:t>
            </a:r>
            <a:endParaRPr lang="en-US" sz="4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nanya Mechinen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How I feel Shell implements this learning </a:t>
            </a:r>
          </a:p>
          <a:p>
            <a:pPr marL="0" indent="0">
              <a:buNone/>
            </a:pPr>
            <a:r>
              <a:rPr lang="en-US" sz="2000" dirty="0"/>
              <a:t>Etiquettes at shell is implemented through integrity ,honesty ,trust and respect for everyone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Shell benefits from this with maintaining a ground level for everyone, creating its principles. 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389382" y="1860993"/>
            <a:ext cx="5704307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s</a:t>
            </a:r>
          </a:p>
          <a:p>
            <a:pPr marL="0" indent="0">
              <a:buNone/>
            </a:pPr>
            <a:r>
              <a:rPr lang="en-US" sz="2000" dirty="0"/>
              <a:t>Fear of Judgement</a:t>
            </a:r>
          </a:p>
          <a:p>
            <a:pPr marL="0" indent="0">
              <a:buNone/>
            </a:pPr>
            <a:r>
              <a:rPr lang="en-US" sz="2000" dirty="0"/>
              <a:t>Lack of confidence</a:t>
            </a:r>
          </a:p>
          <a:p>
            <a:pPr marL="0" indent="0">
              <a:buNone/>
            </a:pPr>
            <a:r>
              <a:rPr lang="en-US" sz="2000" dirty="0"/>
              <a:t>Hierarchy and authority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Plan To Overcome</a:t>
            </a:r>
          </a:p>
          <a:p>
            <a:pPr marL="0" indent="0">
              <a:buNone/>
            </a:pPr>
            <a:r>
              <a:rPr lang="en-US" sz="2000" dirty="0"/>
              <a:t>Practice Active listening </a:t>
            </a:r>
          </a:p>
          <a:p>
            <a:pPr marL="0" indent="0">
              <a:buNone/>
            </a:pPr>
            <a:r>
              <a:rPr lang="en-US" sz="2000" dirty="0"/>
              <a:t>Ask for feedback </a:t>
            </a:r>
          </a:p>
          <a:p>
            <a:pPr marL="0" indent="0">
              <a:buNone/>
            </a:pPr>
            <a:r>
              <a:rPr lang="en-US" sz="2000" dirty="0"/>
              <a:t>Start small</a:t>
            </a:r>
            <a:endParaRPr lang="en-US" sz="2000" b="1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Challenges</a:t>
            </a:r>
          </a:p>
          <a:p>
            <a:pPr marL="0" indent="0">
              <a:buNone/>
            </a:pPr>
            <a:r>
              <a:rPr lang="en-US" sz="2000" dirty="0"/>
              <a:t>Lack of experience</a:t>
            </a:r>
          </a:p>
          <a:p>
            <a:pPr marL="0" indent="0">
              <a:buNone/>
            </a:pPr>
            <a:r>
              <a:rPr lang="en-US" sz="2000" dirty="0"/>
              <a:t>Communication skills</a:t>
            </a:r>
          </a:p>
          <a:p>
            <a:pPr marL="0" indent="0">
              <a:buNone/>
            </a:pPr>
            <a:r>
              <a:rPr lang="en-US" sz="2000" dirty="0"/>
              <a:t>Understanding client needs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Plan to Overcome</a:t>
            </a:r>
          </a:p>
          <a:p>
            <a:pPr marL="0" indent="0">
              <a:buNone/>
            </a:pPr>
            <a:r>
              <a:rPr lang="en-US" sz="2000" dirty="0"/>
              <a:t>Continuous learning</a:t>
            </a:r>
          </a:p>
          <a:p>
            <a:pPr marL="0" indent="0">
              <a:buNone/>
            </a:pPr>
            <a:r>
              <a:rPr lang="en-US" sz="2000" dirty="0"/>
              <a:t>Mentorship</a:t>
            </a:r>
          </a:p>
          <a:p>
            <a:pPr marL="0" indent="0">
              <a:buNone/>
            </a:pPr>
            <a:r>
              <a:rPr lang="en-US" sz="2000" dirty="0"/>
              <a:t>Professional development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s</a:t>
            </a:r>
          </a:p>
          <a:p>
            <a:pPr marL="0" indent="0">
              <a:buNone/>
            </a:pPr>
            <a:r>
              <a:rPr lang="en-US" sz="2000" dirty="0"/>
              <a:t>Understanding professional norms</a:t>
            </a:r>
          </a:p>
          <a:p>
            <a:pPr marL="0" indent="0">
              <a:buNone/>
            </a:pPr>
            <a:r>
              <a:rPr lang="en-US" sz="2000" dirty="0"/>
              <a:t>Time management</a:t>
            </a:r>
          </a:p>
          <a:p>
            <a:pPr marL="0" indent="0">
              <a:buNone/>
            </a:pPr>
            <a:r>
              <a:rPr lang="en-US" sz="2000" dirty="0"/>
              <a:t>Adapting to corporate culture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Plan to Overcome</a:t>
            </a:r>
          </a:p>
          <a:p>
            <a:pPr marL="0" indent="0">
              <a:buNone/>
            </a:pPr>
            <a:r>
              <a:rPr lang="en-US" sz="2000" dirty="0"/>
              <a:t>Observe and adapt</a:t>
            </a:r>
          </a:p>
          <a:p>
            <a:pPr marL="0" indent="0">
              <a:buNone/>
            </a:pPr>
            <a:r>
              <a:rPr lang="en-US" sz="2000" dirty="0"/>
              <a:t>Be open minded</a:t>
            </a:r>
          </a:p>
          <a:p>
            <a:pPr marL="0" indent="0">
              <a:buNone/>
            </a:pPr>
            <a:r>
              <a:rPr lang="en-US" sz="2000" dirty="0"/>
              <a:t>Engage in training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earch and practice on communication , how to speak in a organizational culture, and also engage with peers.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ring this week and soft skills training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ve been working on all the lessons taught and have seen improvement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Learning is fun at Shell and with this soft skills training, there were a lot of peer to peer interactions, played bingo to engage with everyone, had individual and group presentation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Hade fun with the role play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/>
              <a:t>Quick summary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000" dirty="0"/>
              <a:t>The week has been full of soft skills, communication ,interaction ,presentations and a short lesson on grooming.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800" b="1" dirty="0"/>
              <a:t>Importance of topics of upcoming week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800" dirty="0"/>
              <a:t>Upcoming week will be about technical training and about business analysis ,azure ,</a:t>
            </a:r>
            <a:r>
              <a:rPr lang="en-US" sz="1800" dirty="0" err="1"/>
              <a:t>dbms</a:t>
            </a:r>
            <a:endParaRPr lang="en-US" sz="1800" dirty="0"/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1800" b="1" dirty="0"/>
              <a:t>Connectivity of topics from current week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GB" sz="1800" dirty="0"/>
              <a:t>The communication and presentation skills learned this week will support effective collaboration and clear reporting in business analytics and Azure DevOps projects.</a:t>
            </a:r>
            <a:endParaRPr lang="en-US" sz="1800" dirty="0"/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i="0" dirty="0">
                <a:effectLst/>
                <a:highlight>
                  <a:srgbClr val="F3F3F3"/>
                </a:highlight>
                <a:latin typeface="SegoeUIVariable"/>
              </a:rPr>
              <a:t>“Continuous growth, endless possibilities.”</a:t>
            </a: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The Art Of Continuous Growth - Reinvent ...">
            <a:extLst>
              <a:ext uri="{FF2B5EF4-FFF2-40B4-BE49-F238E27FC236}">
                <a16:creationId xmlns:a16="http://schemas.microsoft.com/office/drawing/2014/main" id="{145210DE-5458-0800-7067-47E7F0D25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831738"/>
            <a:ext cx="5349005" cy="40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Key learning</a:t>
            </a:r>
          </a:p>
          <a:p>
            <a:pPr marL="0" indent="0">
              <a:buNone/>
            </a:pPr>
            <a:r>
              <a:rPr lang="en-US" sz="2000" dirty="0"/>
              <a:t>Speak Louder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Key takeaway</a:t>
            </a:r>
          </a:p>
          <a:p>
            <a:pPr marL="0" indent="0">
              <a:buNone/>
            </a:pPr>
            <a:r>
              <a:rPr lang="en-US" sz="2000" dirty="0"/>
              <a:t>Speaking louder is a very crucial part for effective communication.</a:t>
            </a:r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How do I personally see this concept implemented in the Energy sector</a:t>
            </a:r>
          </a:p>
          <a:p>
            <a:pPr marL="0" indent="0">
              <a:buNone/>
            </a:pPr>
            <a:r>
              <a:rPr lang="en-US" sz="2000" dirty="0"/>
              <a:t>Speaking up can be helpful in the areas of safety ,leadership and public engagement</a:t>
            </a: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A8C5C9-939D-6B42-1B01-98F00A547D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9100" y="1860993"/>
            <a:ext cx="5350706" cy="407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39883" y="1860992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Key learning</a:t>
            </a:r>
          </a:p>
          <a:p>
            <a:pPr marL="0" indent="0">
              <a:buNone/>
            </a:pPr>
            <a:r>
              <a:rPr lang="en-US" sz="2000" dirty="0"/>
              <a:t>Professionalism with clients </a:t>
            </a:r>
          </a:p>
          <a:p>
            <a:pPr marL="0" indent="0">
              <a:buNone/>
            </a:pPr>
            <a:r>
              <a:rPr lang="en-US" sz="2000" b="1" dirty="0"/>
              <a:t>Key takeaway</a:t>
            </a:r>
          </a:p>
          <a:p>
            <a:pPr marL="0" indent="0">
              <a:buNone/>
            </a:pPr>
            <a:r>
              <a:rPr lang="en-US" sz="2000" dirty="0"/>
              <a:t>Maintaining Professionalism means communicating with the clients respectfully ,upholding  integrity ,confidentiality and much more</a:t>
            </a: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How do I personally see this concept implemented in the Energy sector</a:t>
            </a:r>
          </a:p>
          <a:p>
            <a:pPr marL="0" indent="0">
              <a:buNone/>
            </a:pPr>
            <a:r>
              <a:rPr lang="en-US" sz="2000" dirty="0"/>
              <a:t>It makes the requirements of the clients clear, helps maintain client-centric approach.</a:t>
            </a: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Key learning</a:t>
            </a:r>
          </a:p>
          <a:p>
            <a:pPr marL="0" indent="0">
              <a:buNone/>
            </a:pPr>
            <a:r>
              <a:rPr lang="en-US" sz="2000" dirty="0"/>
              <a:t>Etiquettes in an Organization</a:t>
            </a:r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Key takeaway</a:t>
            </a:r>
          </a:p>
          <a:p>
            <a:pPr marL="0" indent="0">
              <a:buNone/>
            </a:pPr>
            <a:r>
              <a:rPr lang="en-US" sz="2000" dirty="0"/>
              <a:t>Take away would be showing respect, fostering a positive and collaborative environment.</a:t>
            </a:r>
            <a:endParaRPr lang="en-US" sz="2000" b="1" dirty="0"/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How do I personally see this concept implemented in the Energy sector</a:t>
            </a:r>
          </a:p>
          <a:p>
            <a:pPr marL="0" indent="0">
              <a:buNone/>
            </a:pPr>
            <a:r>
              <a:rPr lang="en-US" sz="2000" dirty="0"/>
              <a:t>In energy sector it would be necessary for punctuality, safety and ethical conduct</a:t>
            </a:r>
            <a:endParaRPr lang="en-US" sz="2000" b="1" dirty="0"/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98202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How I feel Shell implements this learning </a:t>
            </a:r>
          </a:p>
          <a:p>
            <a:pPr marL="0" indent="0">
              <a:buNone/>
            </a:pPr>
            <a:r>
              <a:rPr lang="en-US" sz="2000" dirty="0"/>
              <a:t>Shell put a lot of focus on speaking your thoughts out, everyone’s ideas are taken into consideration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Shell benefits on this with employee engagement, better planning, more innovation, and better trust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How I feel Shell implements this learning </a:t>
            </a:r>
          </a:p>
          <a:p>
            <a:pPr marL="0" indent="0">
              <a:buNone/>
            </a:pPr>
            <a:r>
              <a:rPr lang="en-US" sz="2000" dirty="0"/>
              <a:t>Professionalism with clients at shell is through keeping the confidentiality of the clients , maintaining a sense of trust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How I feel Shell benefits from this learning</a:t>
            </a:r>
          </a:p>
          <a:p>
            <a:pPr marL="0" indent="0">
              <a:buNone/>
            </a:pPr>
            <a:r>
              <a:rPr lang="en-US" sz="2000" dirty="0"/>
              <a:t>Shell with professionalism benefits a lot throughout its operations as it makes transparent communication, client-centric approach and provides trust</a:t>
            </a:r>
            <a:r>
              <a:rPr lang="en-US" sz="2000" b="1" dirty="0"/>
              <a:t>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35</TotalTime>
  <Words>741</Words>
  <Application>Microsoft Office PowerPoint</Application>
  <PresentationFormat>Widescreen</PresentationFormat>
  <Paragraphs>13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SegoeUIVariable</vt:lpstr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Mechineni, Ananya SBOBNG-PTIY/DFH</cp:lastModifiedBy>
  <cp:revision>499</cp:revision>
  <dcterms:created xsi:type="dcterms:W3CDTF">2022-01-18T12:35:56Z</dcterms:created>
  <dcterms:modified xsi:type="dcterms:W3CDTF">2024-09-04T10:4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